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29"/>
  </p:notesMasterIdLst>
  <p:handoutMasterIdLst>
    <p:handoutMasterId r:id="rId30"/>
  </p:handoutMasterIdLst>
  <p:sldIdLst>
    <p:sldId id="1347" r:id="rId2"/>
    <p:sldId id="1322" r:id="rId3"/>
    <p:sldId id="1323" r:id="rId4"/>
    <p:sldId id="1379" r:id="rId5"/>
    <p:sldId id="1373" r:id="rId6"/>
    <p:sldId id="1386" r:id="rId7"/>
    <p:sldId id="1389" r:id="rId8"/>
    <p:sldId id="1403" r:id="rId9"/>
    <p:sldId id="1394" r:id="rId10"/>
    <p:sldId id="1334" r:id="rId11"/>
    <p:sldId id="1385" r:id="rId12"/>
    <p:sldId id="1388" r:id="rId13"/>
    <p:sldId id="1343" r:id="rId14"/>
    <p:sldId id="1399" r:id="rId15"/>
    <p:sldId id="1397" r:id="rId16"/>
    <p:sldId id="1400" r:id="rId17"/>
    <p:sldId id="1401" r:id="rId18"/>
    <p:sldId id="1330" r:id="rId19"/>
    <p:sldId id="1345" r:id="rId20"/>
    <p:sldId id="1392" r:id="rId21"/>
    <p:sldId id="1372" r:id="rId22"/>
    <p:sldId id="1377" r:id="rId23"/>
    <p:sldId id="1390" r:id="rId24"/>
    <p:sldId id="1402" r:id="rId25"/>
    <p:sldId id="1348" r:id="rId26"/>
    <p:sldId id="1339" r:id="rId27"/>
    <p:sldId id="1335" r:id="rId28"/>
  </p:sldIdLst>
  <p:sldSz cx="9906000" cy="6858000" type="A4"/>
  <p:notesSz cx="6669088" cy="9926638"/>
  <p:custShowLst>
    <p:custShow name="Custom Show 1" id="0">
      <p:sldLst/>
    </p:custShow>
  </p:custShowLst>
  <p:custDataLst>
    <p:tags r:id="rId3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0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11" autoAdjust="0"/>
    <p:restoredTop sz="95252" autoAdjust="0"/>
  </p:normalViewPr>
  <p:slideViewPr>
    <p:cSldViewPr>
      <p:cViewPr varScale="1">
        <p:scale>
          <a:sx n="68" d="100"/>
          <a:sy n="68" d="100"/>
        </p:scale>
        <p:origin x="1662" y="60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7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4"/>
            <a:ext cx="2890404" cy="49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18" tIns="47810" rIns="95618" bIns="47810" numCol="1" anchor="t" anchorCtr="0" compatLnSpc="1">
            <a:prstTxWarp prst="textNoShape">
              <a:avLst/>
            </a:prstTxWarp>
          </a:bodyPr>
          <a:lstStyle>
            <a:lvl1pPr defTabSz="890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777130" y="4"/>
            <a:ext cx="2890404" cy="49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18" tIns="47810" rIns="95618" bIns="47810" numCol="1" anchor="t" anchorCtr="0" compatLnSpc="1">
            <a:prstTxWarp prst="textNoShape">
              <a:avLst/>
            </a:prstTxWarp>
          </a:bodyPr>
          <a:lstStyle>
            <a:lvl1pPr algn="r" defTabSz="890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2/27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2" y="9427218"/>
            <a:ext cx="2890404" cy="49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18" tIns="47810" rIns="95618" bIns="47810" numCol="1" anchor="b" anchorCtr="0" compatLnSpc="1">
            <a:prstTxWarp prst="textNoShape">
              <a:avLst/>
            </a:prstTxWarp>
          </a:bodyPr>
          <a:lstStyle>
            <a:lvl1pPr defTabSz="890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777130" y="9427218"/>
            <a:ext cx="2890404" cy="49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18" tIns="47810" rIns="95618" bIns="47810" numCol="1" anchor="b" anchorCtr="0" compatLnSpc="1">
            <a:prstTxWarp prst="textNoShape">
              <a:avLst/>
            </a:prstTxWarp>
          </a:bodyPr>
          <a:lstStyle>
            <a:lvl1pPr algn="r" defTabSz="890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4"/>
            <a:ext cx="2890404" cy="49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18" tIns="47810" rIns="95618" bIns="47810" numCol="1" anchor="t" anchorCtr="0" compatLnSpc="1">
            <a:prstTxWarp prst="textNoShape">
              <a:avLst/>
            </a:prstTxWarp>
          </a:bodyPr>
          <a:lstStyle>
            <a:lvl1pPr defTabSz="890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777130" y="4"/>
            <a:ext cx="2890404" cy="49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18" tIns="47810" rIns="95618" bIns="47810" numCol="1" anchor="t" anchorCtr="0" compatLnSpc="1">
            <a:prstTxWarp prst="textNoShape">
              <a:avLst/>
            </a:prstTxWarp>
          </a:bodyPr>
          <a:lstStyle>
            <a:lvl1pPr algn="r" defTabSz="890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2/27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49288" y="747713"/>
            <a:ext cx="5372100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987" tIns="49492" rIns="98987" bIns="4949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67380" y="4716783"/>
            <a:ext cx="5334336" cy="4466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18" tIns="47810" rIns="95618" bIns="4781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2" y="9427218"/>
            <a:ext cx="2890404" cy="49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18" tIns="47810" rIns="95618" bIns="47810" numCol="1" anchor="b" anchorCtr="0" compatLnSpc="1">
            <a:prstTxWarp prst="textNoShape">
              <a:avLst/>
            </a:prstTxWarp>
          </a:bodyPr>
          <a:lstStyle>
            <a:lvl1pPr defTabSz="890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777130" y="9427218"/>
            <a:ext cx="2890404" cy="49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18" tIns="47810" rIns="95618" bIns="47810" numCol="1" anchor="b" anchorCtr="0" compatLnSpc="1">
            <a:prstTxWarp prst="textNoShape">
              <a:avLst/>
            </a:prstTxWarp>
          </a:bodyPr>
          <a:lstStyle>
            <a:lvl1pPr algn="r" defTabSz="890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2357835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15709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90377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5614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005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3760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57662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79929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85579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33458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79021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694445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79126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45515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74320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465520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06282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87190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828726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16929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03610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28522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4143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891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8619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7076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845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99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7/02/2019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7/02/2019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7/02/2019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7/02/2019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7/02/2019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7/02/2019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7/02/2019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7/02/2019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7/02/2019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7/02/2019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7/02/2019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560512" y="3717032"/>
            <a:ext cx="9001249" cy="2816156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600" b="1" dirty="0"/>
              <a:t>LONG TERM CARE POLICY SOLUTIONS FOR AN AGEING SOCIETY AND ITS FINANCIAL SUSTAINABILITY IN THE GERMAN EXPERIENCE </a:t>
            </a:r>
            <a:r>
              <a:rPr lang="en-US" sz="3600" dirty="0"/>
              <a:t>	</a:t>
            </a: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endParaRPr lang="en-GB" sz="1600" b="1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1400" b="1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Markus </a:t>
            </a:r>
            <a:r>
              <a:rPr lang="en-GB" sz="1400" b="1" dirty="0" err="1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Sailer</a:t>
            </a:r>
            <a:endParaRPr lang="en-GB" sz="32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Two- 2018 Training Course “</a:t>
            </a:r>
            <a:r>
              <a:rPr lang="en-US" altLang="zh-CN" sz="1400" i="1" dirty="0">
                <a:latin typeface="Arial" panose="020B0604020202020204" pitchFamily="34" charset="0"/>
              </a:rPr>
              <a:t>Financing the social security system in an ageing society: </a:t>
            </a:r>
          </a:p>
          <a:p>
            <a:pPr algn="ctr" eaLnBrk="0" hangingPunct="0"/>
            <a:r>
              <a:rPr lang="en-US" altLang="zh-CN" sz="1400" i="1" dirty="0">
                <a:latin typeface="Arial" panose="020B0604020202020204" pitchFamily="34" charset="0"/>
              </a:rPr>
              <a:t>the role of public finance and private supplementary funds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endParaRPr lang="zh-CN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endParaRPr lang="en-US" altLang="zh-CN" sz="3200" dirty="0">
              <a:cs typeface="Arial" panose="020B0604020202020204" pitchFamily="34" charset="0"/>
            </a:endParaRPr>
          </a:p>
          <a:p>
            <a:pPr algn="ctr"/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Italy, July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1</a:t>
            </a:r>
            <a:r>
              <a:rPr lang="en-US" altLang="zh-CN" sz="1400" b="1" baseline="300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st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-15</a:t>
            </a:r>
            <a:r>
              <a:rPr lang="en-US" altLang="zh-CN" sz="1400" b="1" baseline="300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th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8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6260893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sz="4000" b="1" dirty="0"/>
              <a:t>TYPE OF ELDERLY SERVICES: </a:t>
            </a:r>
            <a:br>
              <a:rPr lang="de-DE" sz="4000" b="1" dirty="0"/>
            </a:br>
            <a:r>
              <a:rPr lang="de-DE" sz="4000" b="1" dirty="0"/>
              <a:t>FORMAL AND INFORMAL CARE</a:t>
            </a:r>
          </a:p>
        </p:txBody>
      </p:sp>
    </p:spTree>
    <p:extLst>
      <p:ext uri="{BB962C8B-B14F-4D97-AF65-F5344CB8AC3E}">
        <p14:creationId xmlns:p14="http://schemas.microsoft.com/office/powerpoint/2010/main" val="18913886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dirty="0"/>
              <a:t>DEFINITION … IN NEED FOR CARE</a:t>
            </a:r>
          </a:p>
        </p:txBody>
      </p:sp>
      <p:sp>
        <p:nvSpPr>
          <p:cNvPr id="5" name="Rechteck 4"/>
          <p:cNvSpPr/>
          <p:nvPr/>
        </p:nvSpPr>
        <p:spPr>
          <a:xfrm>
            <a:off x="704528" y="1268760"/>
            <a:ext cx="8568952" cy="27515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Impairments of independence or incapacitation due to physical, mental and psychological disabilities </a:t>
            </a:r>
          </a:p>
          <a:p>
            <a:pPr marL="342900" lvl="0" indent="-34290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… in six fields, which are weighted (next slide)</a:t>
            </a:r>
          </a:p>
          <a:p>
            <a:pPr marL="342900" lvl="0" indent="-34290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The need must be long-term, at least for six months and of a defined gravity </a:t>
            </a:r>
          </a:p>
        </p:txBody>
      </p:sp>
    </p:spTree>
    <p:extLst>
      <p:ext uri="{BB962C8B-B14F-4D97-AF65-F5344CB8AC3E}">
        <p14:creationId xmlns:p14="http://schemas.microsoft.com/office/powerpoint/2010/main" val="19133011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dirty="0"/>
              <a:t>DIMENSIONS OF ASSESSMENT</a:t>
            </a:r>
          </a:p>
        </p:txBody>
      </p:sp>
      <p:sp>
        <p:nvSpPr>
          <p:cNvPr id="5" name="Rechteck 4"/>
          <p:cNvSpPr/>
          <p:nvPr/>
        </p:nvSpPr>
        <p:spPr>
          <a:xfrm>
            <a:off x="704528" y="1268760"/>
            <a:ext cx="8568952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lvl="0" indent="-51435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+mj-lt"/>
              <a:buAutoNum type="arabicParenBoth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Mobility (10%)</a:t>
            </a:r>
          </a:p>
          <a:p>
            <a:pPr marL="514350" lvl="0" indent="-51435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+mj-lt"/>
              <a:buAutoNum type="arabicParenBoth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Cognitive and communicative abilities (15%, jointly with (3))</a:t>
            </a:r>
          </a:p>
          <a:p>
            <a:pPr marL="514350" lvl="0" indent="-51435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+mj-lt"/>
              <a:buAutoNum type="arabicParenBoth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Behaviour patterns and psychological problems (15%, jointly with (2)</a:t>
            </a:r>
          </a:p>
          <a:p>
            <a:pPr marL="514350" lvl="0" indent="-51435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+mj-lt"/>
              <a:buAutoNum type="arabicParenBoth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Level of self sufficiency (40%)</a:t>
            </a:r>
          </a:p>
          <a:p>
            <a:pPr marL="514350" lvl="0" indent="-51435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+mj-lt"/>
              <a:buAutoNum type="arabicParenBoth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Health restrictions, demands and stress due to therapies (20%)</a:t>
            </a:r>
          </a:p>
          <a:p>
            <a:pPr marL="514350" lvl="0" indent="-51435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+mj-lt"/>
              <a:buAutoNum type="arabicParenBoth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Structure of every day life and social contacts (15%)</a:t>
            </a:r>
          </a:p>
        </p:txBody>
      </p:sp>
    </p:spTree>
    <p:extLst>
      <p:ext uri="{BB962C8B-B14F-4D97-AF65-F5344CB8AC3E}">
        <p14:creationId xmlns:p14="http://schemas.microsoft.com/office/powerpoint/2010/main" val="35644104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dirty="0"/>
              <a:t>CARE GRADES</a:t>
            </a:r>
          </a:p>
        </p:txBody>
      </p:sp>
      <p:sp>
        <p:nvSpPr>
          <p:cNvPr id="5" name="Rechteck 4"/>
          <p:cNvSpPr/>
          <p:nvPr/>
        </p:nvSpPr>
        <p:spPr>
          <a:xfrm>
            <a:off x="704528" y="1268760"/>
            <a:ext cx="8568952" cy="4721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2738113"/>
              </p:ext>
            </p:extLst>
          </p:nvPr>
        </p:nvGraphicFramePr>
        <p:xfrm>
          <a:off x="560512" y="2564523"/>
          <a:ext cx="8850192" cy="36726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81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4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4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24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24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24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23">
                <a:tc>
                  <a:txBody>
                    <a:bodyPr/>
                    <a:lstStyle/>
                    <a:p>
                      <a:r>
                        <a:rPr lang="de-DE" sz="1600" dirty="0"/>
                        <a:t>TYPE</a:t>
                      </a:r>
                      <a:r>
                        <a:rPr lang="de-DE" sz="1600" baseline="0" dirty="0"/>
                        <a:t> OF BENEFIT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CARE GRAD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CARE GRADE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CARE GRADE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/>
                        <a:t>CARE GRADE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CARE GRADE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23">
                <a:tc>
                  <a:txBody>
                    <a:bodyPr/>
                    <a:lstStyle/>
                    <a:p>
                      <a:r>
                        <a:rPr lang="en-GB" sz="1600" noProof="0" dirty="0"/>
                        <a:t>Point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noProof="0" dirty="0"/>
                        <a:t>12.5-2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noProof="0" dirty="0"/>
                        <a:t>27-47.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noProof="0" dirty="0"/>
                        <a:t>47.5-7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noProof="0" dirty="0"/>
                        <a:t>70-9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noProof="0" dirty="0"/>
                        <a:t>90-10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60206">
                <a:tc>
                  <a:txBody>
                    <a:bodyPr/>
                    <a:lstStyle/>
                    <a:p>
                      <a:r>
                        <a:rPr lang="en-GB" sz="1600" noProof="0" dirty="0"/>
                        <a:t>Defin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600" b="1" noProof="0" dirty="0"/>
                        <a:t>Minor</a:t>
                      </a:r>
                      <a:r>
                        <a:rPr lang="en-GB" sz="1600" b="1" baseline="0" noProof="0" dirty="0"/>
                        <a:t> </a:t>
                      </a:r>
                      <a:r>
                        <a:rPr lang="en-GB" sz="1600" baseline="0" noProof="0" dirty="0"/>
                        <a:t>impairment of independence</a:t>
                      </a:r>
                      <a:endParaRPr lang="en-GB" sz="16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noProof="0" dirty="0"/>
                        <a:t>Considerable</a:t>
                      </a:r>
                      <a:r>
                        <a:rPr lang="en-GB" sz="1600" baseline="0" noProof="0" dirty="0"/>
                        <a:t> impairment of independence</a:t>
                      </a:r>
                      <a:endParaRPr lang="en-GB" sz="1600" noProof="0" dirty="0"/>
                    </a:p>
                    <a:p>
                      <a:pPr algn="l"/>
                      <a:endParaRPr lang="en-GB" sz="16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noProof="0" dirty="0"/>
                        <a:t>Severe </a:t>
                      </a:r>
                      <a:r>
                        <a:rPr lang="en-GB" sz="1600" baseline="0" noProof="0" dirty="0"/>
                        <a:t>impairment of independence</a:t>
                      </a:r>
                      <a:endParaRPr lang="en-GB" sz="1600" noProof="0" dirty="0"/>
                    </a:p>
                    <a:p>
                      <a:pPr algn="l"/>
                      <a:endParaRPr lang="en-GB" sz="16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noProof="0" dirty="0"/>
                        <a:t>Most severe </a:t>
                      </a:r>
                      <a:r>
                        <a:rPr lang="en-GB" sz="1600" b="1" baseline="0" noProof="0" dirty="0"/>
                        <a:t> </a:t>
                      </a:r>
                      <a:r>
                        <a:rPr lang="en-GB" sz="1600" baseline="0" noProof="0" dirty="0"/>
                        <a:t>impairment of independence</a:t>
                      </a:r>
                      <a:endParaRPr lang="en-GB" sz="1600" noProof="0" dirty="0"/>
                    </a:p>
                    <a:p>
                      <a:pPr algn="l"/>
                      <a:endParaRPr lang="en-GB" sz="16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noProof="0" dirty="0"/>
                        <a:t>Most severe </a:t>
                      </a:r>
                      <a:r>
                        <a:rPr lang="en-GB" sz="1600" b="1" baseline="0" noProof="0" dirty="0"/>
                        <a:t> </a:t>
                      </a:r>
                      <a:r>
                        <a:rPr lang="en-GB" sz="1600" baseline="0" noProof="0" dirty="0"/>
                        <a:t>impairment of independence </a:t>
                      </a:r>
                      <a:r>
                        <a:rPr lang="en-GB" sz="1600" b="1" baseline="0" noProof="0" dirty="0"/>
                        <a:t>with special care requirements </a:t>
                      </a:r>
                      <a:endParaRPr lang="en-GB" sz="1600" b="1" noProof="0" dirty="0"/>
                    </a:p>
                    <a:p>
                      <a:pPr algn="l"/>
                      <a:endParaRPr lang="en-GB" sz="16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23">
                <a:tc gridSpan="4">
                  <a:txBody>
                    <a:bodyPr/>
                    <a:lstStyle/>
                    <a:p>
                      <a:r>
                        <a:rPr lang="de-DE" sz="1400" dirty="0"/>
                        <a:t>Source: </a:t>
                      </a:r>
                      <a:r>
                        <a:rPr lang="de-DE" sz="1400" dirty="0" err="1"/>
                        <a:t>Social</a:t>
                      </a:r>
                      <a:r>
                        <a:rPr lang="de-DE" sz="1400" baseline="0" dirty="0"/>
                        <a:t> Code Book </a:t>
                      </a:r>
                      <a:r>
                        <a:rPr lang="de-DE" sz="1400" baseline="0" dirty="0" err="1"/>
                        <a:t>no</a:t>
                      </a:r>
                      <a:r>
                        <a:rPr lang="de-DE" sz="1400" baseline="0" dirty="0"/>
                        <a:t> 11</a:t>
                      </a:r>
                      <a:endParaRPr lang="en-GB" sz="1400" noProof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" name="Textfeld 1"/>
          <p:cNvSpPr txBox="1"/>
          <p:nvPr/>
        </p:nvSpPr>
        <p:spPr>
          <a:xfrm>
            <a:off x="632520" y="1367057"/>
            <a:ext cx="877818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r>
              <a:rPr lang="en-GB" sz="2800" dirty="0">
                <a:solidFill>
                  <a:prstClr val="black"/>
                </a:solidFill>
                <a:latin typeface="Optane" pitchFamily="2" charset="0"/>
              </a:rPr>
              <a:t>The weighted results are added to a total of 0 to 100 points.. The scale is divided into five segments which define the five grades of “need for care”.</a:t>
            </a:r>
          </a:p>
        </p:txBody>
      </p:sp>
    </p:spTree>
    <p:extLst>
      <p:ext uri="{BB962C8B-B14F-4D97-AF65-F5344CB8AC3E}">
        <p14:creationId xmlns:p14="http://schemas.microsoft.com/office/powerpoint/2010/main" val="22160209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dirty="0"/>
              <a:t>LIST OF BENEFITS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200472" y="1124744"/>
            <a:ext cx="8784976" cy="4968552"/>
          </a:xfrm>
        </p:spPr>
        <p:txBody>
          <a:bodyPr>
            <a:noAutofit/>
          </a:bodyPr>
          <a:lstStyle/>
          <a:p>
            <a:pPr marL="514350" lvl="0" indent="-514350">
              <a:spcBef>
                <a:spcPts val="0"/>
              </a:spcBef>
              <a:buFont typeface="+mj-lt"/>
              <a:buAutoNum type="arabicParenBoth"/>
            </a:pPr>
            <a:r>
              <a:rPr lang="en-US" sz="2400" dirty="0">
                <a:solidFill>
                  <a:prstClr val="black"/>
                </a:solidFill>
              </a:rPr>
              <a:t>Cash transfer</a:t>
            </a:r>
          </a:p>
          <a:p>
            <a:pPr marL="514350" lvl="0" indent="-514350">
              <a:spcBef>
                <a:spcPts val="0"/>
              </a:spcBef>
              <a:buFont typeface="+mj-lt"/>
              <a:buAutoNum type="arabicParenBoth"/>
            </a:pPr>
            <a:r>
              <a:rPr lang="en-US" sz="2400" dirty="0">
                <a:solidFill>
                  <a:prstClr val="black"/>
                </a:solidFill>
              </a:rPr>
              <a:t>Benefits in kind</a:t>
            </a:r>
          </a:p>
          <a:p>
            <a:pPr marL="514350" lvl="0" indent="-514350">
              <a:spcBef>
                <a:spcPts val="0"/>
              </a:spcBef>
              <a:buFont typeface="+mj-lt"/>
              <a:buAutoNum type="arabicParenBoth"/>
            </a:pPr>
            <a:r>
              <a:rPr lang="en-US" sz="2400" dirty="0">
                <a:solidFill>
                  <a:prstClr val="black"/>
                </a:solidFill>
              </a:rPr>
              <a:t>Substitute for prevented caregiver </a:t>
            </a:r>
          </a:p>
          <a:p>
            <a:pPr marL="514350" lvl="0" indent="-514350">
              <a:spcBef>
                <a:spcPts val="0"/>
              </a:spcBef>
              <a:buFont typeface="+mj-lt"/>
              <a:buAutoNum type="arabicParenBoth"/>
            </a:pPr>
            <a:r>
              <a:rPr lang="en-US" sz="2400" dirty="0">
                <a:solidFill>
                  <a:prstClr val="black"/>
                </a:solidFill>
              </a:rPr>
              <a:t>Day-/Night care</a:t>
            </a:r>
          </a:p>
          <a:p>
            <a:pPr marL="514350" lvl="0" indent="-514350">
              <a:spcBef>
                <a:spcPts val="0"/>
              </a:spcBef>
              <a:buFont typeface="+mj-lt"/>
              <a:buAutoNum type="arabicParenBoth"/>
            </a:pPr>
            <a:r>
              <a:rPr lang="en-US" sz="2400" dirty="0">
                <a:solidFill>
                  <a:prstClr val="black"/>
                </a:solidFill>
              </a:rPr>
              <a:t>Supplementary ambulatory care and relief benefits </a:t>
            </a:r>
          </a:p>
          <a:p>
            <a:pPr marL="514350" lvl="0" indent="-514350">
              <a:spcBef>
                <a:spcPts val="0"/>
              </a:spcBef>
              <a:buFont typeface="+mj-lt"/>
              <a:buAutoNum type="arabicParenBoth"/>
            </a:pPr>
            <a:r>
              <a:rPr lang="en-US" sz="2400" dirty="0">
                <a:solidFill>
                  <a:prstClr val="black"/>
                </a:solidFill>
              </a:rPr>
              <a:t>Short term care</a:t>
            </a:r>
          </a:p>
          <a:p>
            <a:pPr marL="514350" lvl="0" indent="-514350">
              <a:spcBef>
                <a:spcPts val="0"/>
              </a:spcBef>
              <a:buFont typeface="+mj-lt"/>
              <a:buAutoNum type="arabicParenBoth"/>
            </a:pPr>
            <a:r>
              <a:rPr lang="en-US" sz="2400" dirty="0">
                <a:solidFill>
                  <a:prstClr val="black"/>
                </a:solidFill>
              </a:rPr>
              <a:t>Social insurance of caregivers (non-professional)</a:t>
            </a:r>
          </a:p>
          <a:p>
            <a:pPr marL="514350" lvl="0" indent="-514350">
              <a:spcBef>
                <a:spcPts val="0"/>
              </a:spcBef>
              <a:buFont typeface="+mj-lt"/>
              <a:buAutoNum type="arabicParenBoth"/>
            </a:pPr>
            <a:r>
              <a:rPr lang="en-US" sz="2400" dirty="0">
                <a:solidFill>
                  <a:prstClr val="black"/>
                </a:solidFill>
              </a:rPr>
              <a:t>Auxiliary devices / improvements to the living environment</a:t>
            </a:r>
          </a:p>
          <a:p>
            <a:pPr marL="514350" lvl="0" indent="-514350">
              <a:spcBef>
                <a:spcPts val="0"/>
              </a:spcBef>
              <a:buFont typeface="+mj-lt"/>
              <a:buAutoNum type="arabicParenBoth"/>
            </a:pPr>
            <a:r>
              <a:rPr lang="en-US" sz="2400" dirty="0">
                <a:solidFill>
                  <a:prstClr val="black"/>
                </a:solidFill>
              </a:rPr>
              <a:t>In-patient care</a:t>
            </a:r>
          </a:p>
          <a:p>
            <a:pPr marL="514350" lvl="0" indent="-514350">
              <a:spcBef>
                <a:spcPts val="0"/>
              </a:spcBef>
              <a:buFont typeface="+mj-lt"/>
              <a:buAutoNum type="arabicParenBoth"/>
            </a:pPr>
            <a:r>
              <a:rPr lang="en-US" sz="2400" dirty="0">
                <a:solidFill>
                  <a:prstClr val="black"/>
                </a:solidFill>
              </a:rPr>
              <a:t>In-patient care in home for handicapped</a:t>
            </a:r>
          </a:p>
          <a:p>
            <a:pPr marL="514350" lvl="0" indent="-514350">
              <a:spcBef>
                <a:spcPts val="0"/>
              </a:spcBef>
              <a:buFont typeface="+mj-lt"/>
              <a:buAutoNum type="arabicParenBoth"/>
            </a:pPr>
            <a:r>
              <a:rPr lang="en-US" sz="2400" dirty="0">
                <a:solidFill>
                  <a:prstClr val="black"/>
                </a:solidFill>
              </a:rPr>
              <a:t>In-patient care top-ups </a:t>
            </a:r>
          </a:p>
          <a:p>
            <a:pPr marL="514350" lvl="0" indent="-514350">
              <a:spcBef>
                <a:spcPts val="0"/>
              </a:spcBef>
              <a:buFont typeface="+mj-lt"/>
              <a:buAutoNum type="arabicParenBoth"/>
            </a:pPr>
            <a:r>
              <a:rPr lang="en-US" sz="2400" dirty="0">
                <a:solidFill>
                  <a:prstClr val="black"/>
                </a:solidFill>
              </a:rPr>
              <a:t>Counselling services in LTC matters</a:t>
            </a:r>
          </a:p>
          <a:p>
            <a:pPr marL="514350" lvl="0" indent="-514350">
              <a:spcBef>
                <a:spcPts val="0"/>
              </a:spcBef>
              <a:buFont typeface="+mj-lt"/>
              <a:buAutoNum type="arabicParenBoth"/>
            </a:pPr>
            <a:r>
              <a:rPr lang="en-US" sz="2400" dirty="0">
                <a:solidFill>
                  <a:prstClr val="black"/>
                </a:solidFill>
              </a:rPr>
              <a:t>Other benefits: Training courses, …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16166396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dirty="0"/>
              <a:t>SIZE OF </a:t>
            </a:r>
            <a:r>
              <a:rPr lang="de-DE" sz="3200"/>
              <a:t>BENEFITS ACCORDING TO CARE GRADE</a:t>
            </a:r>
            <a:endParaRPr lang="de-DE" sz="3200" dirty="0"/>
          </a:p>
        </p:txBody>
      </p:sp>
      <p:sp>
        <p:nvSpPr>
          <p:cNvPr id="5" name="Rechteck 4"/>
          <p:cNvSpPr/>
          <p:nvPr/>
        </p:nvSpPr>
        <p:spPr>
          <a:xfrm>
            <a:off x="704528" y="1268760"/>
            <a:ext cx="8568952" cy="4721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5769430"/>
              </p:ext>
            </p:extLst>
          </p:nvPr>
        </p:nvGraphicFramePr>
        <p:xfrm>
          <a:off x="560512" y="952914"/>
          <a:ext cx="8850192" cy="52972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81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4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4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24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24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24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600" dirty="0"/>
                        <a:t>TYPE</a:t>
                      </a:r>
                      <a:r>
                        <a:rPr lang="de-DE" sz="1600" baseline="0" dirty="0"/>
                        <a:t> OF BENEFIT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CARE GRAD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CARE GRADE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CARE GRADE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/>
                        <a:t>CARE GRADE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CARE GRADE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8862"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GB" sz="1400" noProof="0" dirty="0"/>
                        <a:t>Euro per mont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noProof="0" dirty="0"/>
                        <a:t>Care allow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1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1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1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1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1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noProof="0" dirty="0"/>
                        <a:t>Outpatient care:</a:t>
                      </a:r>
                      <a:br>
                        <a:rPr lang="en-GB" sz="1600" noProof="0" dirty="0"/>
                      </a:br>
                      <a:r>
                        <a:rPr lang="en-GB" sz="1600" noProof="0" dirty="0"/>
                        <a:t>benefits</a:t>
                      </a:r>
                      <a:r>
                        <a:rPr lang="en-GB" sz="1600" baseline="0" noProof="0" dirty="0"/>
                        <a:t> in cash</a:t>
                      </a:r>
                      <a:endParaRPr lang="en-GB" sz="16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31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54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72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90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noProof="0" dirty="0"/>
                        <a:t>Outpatient care:</a:t>
                      </a:r>
                      <a:br>
                        <a:rPr lang="en-GB" sz="1600" noProof="0" dirty="0"/>
                      </a:br>
                      <a:r>
                        <a:rPr lang="en-GB" sz="1600" noProof="0" dirty="0"/>
                        <a:t>benefits</a:t>
                      </a:r>
                      <a:r>
                        <a:rPr lang="en-GB" sz="1600" baseline="0" noProof="0" dirty="0"/>
                        <a:t> in kind</a:t>
                      </a:r>
                      <a:endParaRPr lang="en-GB" sz="16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68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1,29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1,6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1,99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noProof="0" dirty="0"/>
                        <a:t>Inpatient</a:t>
                      </a:r>
                      <a:r>
                        <a:rPr lang="en-GB" sz="1600" baseline="0" noProof="0" dirty="0"/>
                        <a:t> care: </a:t>
                      </a:r>
                      <a:br>
                        <a:rPr lang="en-GB" sz="1600" baseline="0" noProof="0" dirty="0"/>
                      </a:br>
                      <a:r>
                        <a:rPr lang="en-GB" sz="1600" baseline="0" noProof="0" dirty="0"/>
                        <a:t>benefits in kind</a:t>
                      </a:r>
                      <a:endParaRPr lang="en-GB" sz="16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1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77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1,26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1,77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2,00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noProof="0" dirty="0"/>
                        <a:t>Day- / Night car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68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1,29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1,6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1,99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600" noProof="0" dirty="0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Euro per </a:t>
                      </a:r>
                      <a:r>
                        <a:rPr lang="de-DE" sz="1600" dirty="0" err="1"/>
                        <a:t>year</a:t>
                      </a:r>
                      <a:endParaRPr lang="de-DE" sz="16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de-DE" sz="16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de-DE" sz="16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de-DE" sz="16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de-DE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noProof="0" dirty="0"/>
                        <a:t>Short</a:t>
                      </a:r>
                      <a:r>
                        <a:rPr lang="en-GB" sz="1600" baseline="0" noProof="0" dirty="0"/>
                        <a:t> term care and substitute for prevented care giver</a:t>
                      </a:r>
                      <a:endParaRPr lang="en-GB" sz="16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1,6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/>
                        <a:t>1,6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/>
                        <a:t>1,6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/>
                        <a:t>1,61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 gridSpan="4">
                  <a:txBody>
                    <a:bodyPr/>
                    <a:lstStyle/>
                    <a:p>
                      <a:r>
                        <a:rPr lang="de-DE" sz="1400" dirty="0"/>
                        <a:t>Source: Federal  </a:t>
                      </a:r>
                      <a:r>
                        <a:rPr lang="en-GB" sz="1400" noProof="0" dirty="0"/>
                        <a:t>Ministry of Health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140090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dirty="0"/>
              <a:t>BENEFITS, </a:t>
            </a:r>
            <a:r>
              <a:rPr lang="de-DE" sz="3200" dirty="0" err="1"/>
              <a:t>for</a:t>
            </a:r>
            <a:r>
              <a:rPr lang="de-DE" sz="3200" dirty="0"/>
              <a:t> all care grades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200472" y="1124744"/>
            <a:ext cx="8784976" cy="4968552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US" sz="2400" dirty="0">
                <a:solidFill>
                  <a:prstClr val="black"/>
                </a:solidFill>
              </a:rPr>
              <a:t>Auxiliary devices: 40 Euro per month</a:t>
            </a:r>
          </a:p>
          <a:p>
            <a:pPr>
              <a:spcBef>
                <a:spcPts val="0"/>
              </a:spcBef>
            </a:pPr>
            <a:r>
              <a:rPr lang="en-US" sz="2400" dirty="0">
                <a:solidFill>
                  <a:prstClr val="black"/>
                </a:solidFill>
              </a:rPr>
              <a:t>Improvements to the living environment: 4,000 euro per case</a:t>
            </a:r>
          </a:p>
          <a:p>
            <a:pPr>
              <a:spcBef>
                <a:spcPts val="0"/>
              </a:spcBef>
            </a:pPr>
            <a:r>
              <a:rPr lang="en-US" sz="2400" dirty="0">
                <a:solidFill>
                  <a:prstClr val="black"/>
                </a:solidFill>
              </a:rPr>
              <a:t>Top up for resident group: 214 Euro per month</a:t>
            </a:r>
          </a:p>
          <a:p>
            <a:pPr>
              <a:spcBef>
                <a:spcPts val="0"/>
              </a:spcBef>
            </a:pPr>
            <a:r>
              <a:rPr lang="en-US" sz="2400" dirty="0">
                <a:solidFill>
                  <a:prstClr val="black"/>
                </a:solidFill>
              </a:rPr>
              <a:t>Counselling services in LTC matters; 23 Euro per semester: grade 1-3, per quarter: grade 4 and 5</a:t>
            </a:r>
          </a:p>
        </p:txBody>
      </p:sp>
    </p:spTree>
    <p:extLst>
      <p:ext uri="{BB962C8B-B14F-4D97-AF65-F5344CB8AC3E}">
        <p14:creationId xmlns:p14="http://schemas.microsoft.com/office/powerpoint/2010/main" val="40749148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sz="3600" dirty="0"/>
              <a:t>NUMBER OF BENEFICIARIES </a:t>
            </a:r>
            <a:br>
              <a:rPr lang="de-DE" sz="3200" dirty="0"/>
            </a:br>
            <a:r>
              <a:rPr lang="de-DE" sz="2200" dirty="0"/>
              <a:t>(2017, in </a:t>
            </a:r>
            <a:r>
              <a:rPr lang="de-DE" sz="2200" dirty="0" err="1"/>
              <a:t>thousend</a:t>
            </a:r>
            <a:r>
              <a:rPr lang="de-DE" sz="2200" dirty="0"/>
              <a:t>, </a:t>
            </a:r>
            <a:r>
              <a:rPr lang="de-DE" sz="2200" dirty="0" err="1"/>
              <a:t>rounded</a:t>
            </a:r>
            <a:r>
              <a:rPr lang="de-DE" sz="2200" dirty="0"/>
              <a:t> </a:t>
            </a:r>
            <a:r>
              <a:rPr lang="de-DE" sz="2200" dirty="0" err="1"/>
              <a:t>figures</a:t>
            </a:r>
            <a:r>
              <a:rPr lang="de-DE" sz="2200" dirty="0"/>
              <a:t>) </a:t>
            </a:r>
            <a:endParaRPr lang="de-DE" sz="3200" dirty="0"/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6428442"/>
              </p:ext>
            </p:extLst>
          </p:nvPr>
        </p:nvGraphicFramePr>
        <p:xfrm>
          <a:off x="1651000" y="2025640"/>
          <a:ext cx="6604000" cy="3235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1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1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51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51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CARE GRA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OUT-PATIENT</a:t>
                      </a:r>
                      <a:r>
                        <a:rPr lang="de-DE" baseline="0" dirty="0"/>
                        <a:t> CAR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IN-PATIENT C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TOT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63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67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2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,269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86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,1456.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695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40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36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5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24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09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09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23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32.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,522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779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,302.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Source: 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de-DE" dirty="0"/>
                        <a:t>Federal </a:t>
                      </a:r>
                      <a:r>
                        <a:rPr lang="de-DE" dirty="0" err="1"/>
                        <a:t>Ministry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of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Health</a:t>
                      </a:r>
                      <a:r>
                        <a:rPr lang="de-DE" dirty="0"/>
                        <a:t> (BMG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83424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sz="4000" b="1" dirty="0"/>
              <a:t>FINANCING AND SPENDING LEVELS </a:t>
            </a:r>
          </a:p>
        </p:txBody>
      </p:sp>
    </p:spTree>
    <p:extLst>
      <p:ext uri="{BB962C8B-B14F-4D97-AF65-F5344CB8AC3E}">
        <p14:creationId xmlns:p14="http://schemas.microsoft.com/office/powerpoint/2010/main" val="8361097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dirty="0"/>
              <a:t>FINANCIAL PARAMETERS: RATE OF CONTRIBUTIONS</a:t>
            </a:r>
          </a:p>
        </p:txBody>
      </p:sp>
      <p:sp>
        <p:nvSpPr>
          <p:cNvPr id="5" name="Rechteck 4"/>
          <p:cNvSpPr/>
          <p:nvPr/>
        </p:nvSpPr>
        <p:spPr>
          <a:xfrm>
            <a:off x="704528" y="1268760"/>
            <a:ext cx="8568952" cy="4721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3009851"/>
              </p:ext>
            </p:extLst>
          </p:nvPr>
        </p:nvGraphicFramePr>
        <p:xfrm>
          <a:off x="1651000" y="1227666"/>
          <a:ext cx="6603999" cy="360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13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013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013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de-DE" dirty="0"/>
                        <a:t>TIME PERIOD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RATE</a:t>
                      </a:r>
                      <a:r>
                        <a:rPr lang="de-DE" baseline="0" dirty="0"/>
                        <a:t> OF CONTRIBUTION</a:t>
                      </a:r>
                      <a:r>
                        <a:rPr lang="de-DE" dirty="0"/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noProof="0" dirty="0"/>
                        <a:t> in perc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noProof="0" dirty="0"/>
                        <a:t>Sta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noProof="0" dirty="0"/>
                        <a:t>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noProof="0" dirty="0"/>
                        <a:t>1995</a:t>
                      </a:r>
                      <a:r>
                        <a:rPr lang="en-GB" sz="1600" baseline="0" noProof="0" dirty="0"/>
                        <a:t>, January</a:t>
                      </a:r>
                      <a:endParaRPr lang="en-GB" sz="16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noProof="0" dirty="0"/>
                        <a:t>1996, Ju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noProof="0" dirty="0"/>
                        <a:t>1.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noProof="0" dirty="0"/>
                        <a:t>1996, Ju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noProof="0" dirty="0"/>
                        <a:t>2008, Ju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noProof="0" dirty="0"/>
                        <a:t>1.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noProof="0" dirty="0"/>
                        <a:t>2008, Ju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noProof="0" dirty="0"/>
                        <a:t>2012,</a:t>
                      </a:r>
                      <a:r>
                        <a:rPr lang="en-GB" sz="1600" baseline="0" noProof="0" dirty="0"/>
                        <a:t> December</a:t>
                      </a:r>
                      <a:endParaRPr lang="en-GB" sz="16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noProof="0" dirty="0"/>
                        <a:t>1.9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noProof="0" dirty="0"/>
                        <a:t>2013, Janu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noProof="0" dirty="0"/>
                        <a:t>2014, Dece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noProof="0" dirty="0"/>
                        <a:t>2.0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noProof="0" dirty="0"/>
                        <a:t>2015 Janu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noProof="0" dirty="0"/>
                        <a:t>(presen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noProof="0" dirty="0"/>
                        <a:t>2.5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r>
                        <a:rPr lang="en-GB" sz="1600" noProof="0" dirty="0"/>
                        <a:t>Since 2005 the rate of contribution for childless insured is increased</a:t>
                      </a:r>
                      <a:r>
                        <a:rPr lang="en-GB" sz="1600" baseline="0" noProof="0" dirty="0"/>
                        <a:t> by 0.25%.</a:t>
                      </a:r>
                      <a:endParaRPr lang="en-GB" sz="1600" noProof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02735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inciples of design and organisation 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umber of insured </a:t>
            </a: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Index: MANAGEMENT AND ORGANISATION:</a:t>
            </a:r>
          </a:p>
          <a:p>
            <a:r>
              <a:rPr lang="en-US" dirty="0"/>
              <a:t>        DECENTRALISATION AND INTEGRATION 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dirty="0"/>
              <a:t>CONTRIBUTION PAYMENT </a:t>
            </a:r>
          </a:p>
        </p:txBody>
      </p:sp>
      <p:sp>
        <p:nvSpPr>
          <p:cNvPr id="5" name="Rechteck 4"/>
          <p:cNvSpPr/>
          <p:nvPr/>
        </p:nvSpPr>
        <p:spPr>
          <a:xfrm>
            <a:off x="704528" y="1268760"/>
            <a:ext cx="8568952" cy="27515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Contributions levied on gross wages up to the contributory threshold, Euro 4,425.00 per month in 2018</a:t>
            </a:r>
          </a:p>
          <a:p>
            <a:pPr marL="342900" lvl="0" indent="-34290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Employees: Contributions are equally shared between employees and employers</a:t>
            </a:r>
          </a:p>
          <a:p>
            <a:pPr marL="342900" lvl="0" indent="-34290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Pensioners pay entire contribution   </a:t>
            </a:r>
          </a:p>
        </p:txBody>
      </p:sp>
    </p:spTree>
    <p:extLst>
      <p:ext uri="{BB962C8B-B14F-4D97-AF65-F5344CB8AC3E}">
        <p14:creationId xmlns:p14="http://schemas.microsoft.com/office/powerpoint/2010/main" val="38026457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dirty="0"/>
              <a:t>FINANCIAL PARAMETERS: REVENUES AND EXPENDITURE</a:t>
            </a:r>
          </a:p>
        </p:txBody>
      </p:sp>
      <p:sp>
        <p:nvSpPr>
          <p:cNvPr id="5" name="Rechteck 4"/>
          <p:cNvSpPr/>
          <p:nvPr/>
        </p:nvSpPr>
        <p:spPr>
          <a:xfrm>
            <a:off x="704528" y="1268760"/>
            <a:ext cx="8568952" cy="4721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6501671"/>
              </p:ext>
            </p:extLst>
          </p:nvPr>
        </p:nvGraphicFramePr>
        <p:xfrm>
          <a:off x="560512" y="1227666"/>
          <a:ext cx="8850190" cy="30721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12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077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077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0778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077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0778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600" dirty="0"/>
                        <a:t>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CONTRIBU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TOTAL REVEN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EXPENDITURE ON BENEFI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TOTAL EXPENDITUR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BAL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8862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de-DE" dirty="0"/>
                        <a:t>In </a:t>
                      </a:r>
                      <a:r>
                        <a:rPr lang="de-DE" dirty="0" err="1"/>
                        <a:t>billion</a:t>
                      </a:r>
                      <a:r>
                        <a:rPr lang="de-DE" dirty="0"/>
                        <a:t> Euro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20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5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5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4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5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.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20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0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0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6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9,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.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2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2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1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.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r>
                        <a:rPr lang="de-DE" sz="1200" dirty="0"/>
                        <a:t>All </a:t>
                      </a:r>
                      <a:r>
                        <a:rPr lang="de-DE" sz="1200" dirty="0" err="1"/>
                        <a:t>figures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rounded</a:t>
                      </a:r>
                      <a:r>
                        <a:rPr lang="de-DE" sz="1200" dirty="0"/>
                        <a:t>.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 gridSpan="4">
                  <a:txBody>
                    <a:bodyPr/>
                    <a:lstStyle/>
                    <a:p>
                      <a:r>
                        <a:rPr lang="de-DE" sz="1400" dirty="0"/>
                        <a:t>Source: Federal Statistical Office,</a:t>
                      </a:r>
                      <a:r>
                        <a:rPr lang="de-DE" sz="1400" baseline="0" dirty="0"/>
                        <a:t> S</a:t>
                      </a:r>
                      <a:r>
                        <a:rPr lang="de-DE" sz="1400" dirty="0"/>
                        <a:t>tatistical </a:t>
                      </a:r>
                      <a:r>
                        <a:rPr lang="de-DE" sz="1400" dirty="0" err="1"/>
                        <a:t>Yearbook</a:t>
                      </a:r>
                      <a:r>
                        <a:rPr lang="de-DE" sz="1400" dirty="0"/>
                        <a:t> 2017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22783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dirty="0"/>
              <a:t>MECHANISM OF REVENUE SHARING</a:t>
            </a:r>
          </a:p>
        </p:txBody>
      </p:sp>
      <p:sp>
        <p:nvSpPr>
          <p:cNvPr id="5" name="Rechteck 4"/>
          <p:cNvSpPr/>
          <p:nvPr/>
        </p:nvSpPr>
        <p:spPr>
          <a:xfrm>
            <a:off x="704528" y="1268760"/>
            <a:ext cx="8568952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fontAlgn="auto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 err="1">
                <a:solidFill>
                  <a:prstClr val="black"/>
                </a:solidFill>
                <a:latin typeface="Optane" pitchFamily="2" charset="0"/>
              </a:rPr>
              <a:t>Dotations</a:t>
            </a: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 from contributions made by pensioners.</a:t>
            </a:r>
          </a:p>
          <a:p>
            <a:pPr marL="342900" lvl="0" indent="-342900" fontAlgn="auto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Excess funds of LTC funds </a:t>
            </a:r>
          </a:p>
          <a:p>
            <a:pPr marL="342900" lvl="0" indent="-342900" fontAlgn="auto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Other contributions </a:t>
            </a:r>
          </a:p>
          <a:p>
            <a:pPr marL="342900" lvl="0" indent="-342900" fontAlgn="auto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Preliminary, ex ante revenue and expenditure sharing based on estimated balances </a:t>
            </a:r>
          </a:p>
          <a:p>
            <a:pPr marL="342900" lvl="0" indent="-342900" fontAlgn="auto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Ex post annual revenue and expenditure sharing based on final balances</a:t>
            </a:r>
          </a:p>
          <a:p>
            <a:pPr marL="342900" lvl="0" indent="-342900" fontAlgn="auto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Principle of expenditure appropriation: Fund’s share on scheme’s revenues  </a:t>
            </a:r>
          </a:p>
          <a:p>
            <a:pPr marL="342900" lvl="0" indent="-342900" fontAlgn="auto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Management by Federal Insurance Supervisory Office   </a:t>
            </a:r>
          </a:p>
        </p:txBody>
      </p:sp>
    </p:spTree>
    <p:extLst>
      <p:ext uri="{BB962C8B-B14F-4D97-AF65-F5344CB8AC3E}">
        <p14:creationId xmlns:p14="http://schemas.microsoft.com/office/powerpoint/2010/main" val="21905472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dirty="0"/>
              <a:t>MEDIUM TERM FINANCIAL STABILITY </a:t>
            </a:r>
          </a:p>
        </p:txBody>
      </p:sp>
      <p:sp>
        <p:nvSpPr>
          <p:cNvPr id="5" name="Rechteck 4"/>
          <p:cNvSpPr/>
          <p:nvPr/>
        </p:nvSpPr>
        <p:spPr>
          <a:xfrm>
            <a:off x="704528" y="1268760"/>
            <a:ext cx="8568952" cy="344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Model projections</a:t>
            </a:r>
          </a:p>
          <a:p>
            <a:pPr marL="800100" lvl="1" indent="-34290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Current rate of contributions sufficient until 2022</a:t>
            </a:r>
          </a:p>
          <a:p>
            <a:pPr marL="800100" lvl="1" indent="-34290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Additional revenues from increased contribution rate: Euro 2.5bn p.a. </a:t>
            </a:r>
          </a:p>
          <a:p>
            <a:pPr marL="800100" lvl="1" indent="-34290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Further increase in revenues to Euro 2.7bn by 2020</a:t>
            </a: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606641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dirty="0"/>
              <a:t>LONG TERM FINANCIAL STABILITY </a:t>
            </a:r>
          </a:p>
        </p:txBody>
      </p:sp>
      <p:sp>
        <p:nvSpPr>
          <p:cNvPr id="5" name="Rechteck 4"/>
          <p:cNvSpPr/>
          <p:nvPr/>
        </p:nvSpPr>
        <p:spPr>
          <a:xfrm>
            <a:off x="704528" y="1268760"/>
            <a:ext cx="8568952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Model projections</a:t>
            </a:r>
          </a:p>
          <a:p>
            <a:pPr marL="342900" lvl="0" indent="-34290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Macroeconomic model</a:t>
            </a:r>
          </a:p>
          <a:p>
            <a:pPr marL="342900" lvl="0" indent="-34290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Scenario T+: positive development regarding demography, employment, productivity, gross domestic product </a:t>
            </a:r>
          </a:p>
          <a:p>
            <a:pPr marL="342900" lvl="0" indent="-34290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Scenario T-: negative development regarding demography, employment, productivity, gross domestic product </a:t>
            </a:r>
          </a:p>
          <a:p>
            <a:pPr marL="800100" lvl="1" indent="-34290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2245964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dirty="0"/>
              <a:t>FINANCIAL PARAMETERS: PROJECTION OF EXPENDITURE</a:t>
            </a:r>
          </a:p>
        </p:txBody>
      </p:sp>
      <p:sp>
        <p:nvSpPr>
          <p:cNvPr id="5" name="Rechteck 4"/>
          <p:cNvSpPr/>
          <p:nvPr/>
        </p:nvSpPr>
        <p:spPr>
          <a:xfrm>
            <a:off x="704528" y="1268760"/>
            <a:ext cx="8568952" cy="4721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08720"/>
            <a:ext cx="9906000" cy="5593760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430287" y="2943235"/>
            <a:ext cx="346249" cy="12778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vert270" wrap="square" rtlCol="0">
            <a:spAutoFit/>
          </a:bodyPr>
          <a:lstStyle/>
          <a:p>
            <a:r>
              <a:rPr lang="en-GB" sz="1050" dirty="0"/>
              <a:t>In percent of GDP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6177136" y="1268760"/>
            <a:ext cx="3096344" cy="5232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 algn="ctr">
              <a:buFontTx/>
              <a:buChar char="-"/>
            </a:pPr>
            <a:r>
              <a:rPr lang="de-DE" sz="1400" dirty="0"/>
              <a:t>- </a:t>
            </a:r>
            <a:r>
              <a:rPr lang="de-DE" sz="1400" dirty="0" err="1"/>
              <a:t>price</a:t>
            </a:r>
            <a:r>
              <a:rPr lang="de-DE" sz="1400" dirty="0"/>
              <a:t> </a:t>
            </a:r>
            <a:r>
              <a:rPr lang="de-DE" sz="1400" dirty="0" err="1"/>
              <a:t>indexed</a:t>
            </a:r>
            <a:r>
              <a:rPr lang="de-DE" sz="1400" dirty="0"/>
              <a:t> </a:t>
            </a:r>
          </a:p>
          <a:p>
            <a:pPr algn="ctr"/>
            <a:r>
              <a:rPr lang="de-DE" sz="1400" dirty="0"/>
              <a:t>___ wage </a:t>
            </a:r>
            <a:r>
              <a:rPr lang="de-DE" sz="1400" dirty="0" err="1"/>
              <a:t>indexed</a:t>
            </a:r>
            <a:endParaRPr lang="de-DE" sz="1400" dirty="0"/>
          </a:p>
        </p:txBody>
      </p:sp>
      <p:sp>
        <p:nvSpPr>
          <p:cNvPr id="6" name="Textfeld 5"/>
          <p:cNvSpPr txBox="1"/>
          <p:nvPr/>
        </p:nvSpPr>
        <p:spPr>
          <a:xfrm>
            <a:off x="3800872" y="1268760"/>
            <a:ext cx="1548172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Projections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933220" y="5034662"/>
            <a:ext cx="1548172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600" dirty="0"/>
              <a:t>Scenario T+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16896" y="3572210"/>
            <a:ext cx="1579001" cy="432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98340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dirty="0"/>
              <a:t>LONG TERM CARE PROVIDENT FUND</a:t>
            </a:r>
          </a:p>
        </p:txBody>
      </p:sp>
      <p:sp>
        <p:nvSpPr>
          <p:cNvPr id="5" name="Rechteck 4"/>
          <p:cNvSpPr/>
          <p:nvPr/>
        </p:nvSpPr>
        <p:spPr>
          <a:xfrm>
            <a:off x="704528" y="1268760"/>
            <a:ext cx="8568952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8387107"/>
              </p:ext>
            </p:extLst>
          </p:nvPr>
        </p:nvGraphicFramePr>
        <p:xfrm>
          <a:off x="704528" y="1227666"/>
          <a:ext cx="8352928" cy="48768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7192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337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2000" b="0" noProof="0" dirty="0"/>
                        <a:t>Established and</a:t>
                      </a:r>
                      <a:r>
                        <a:rPr lang="en-GB" sz="2000" b="0" baseline="0" noProof="0" dirty="0"/>
                        <a:t> operational</a:t>
                      </a:r>
                      <a:endParaRPr lang="en-GB" sz="2000" b="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2000" b="0" noProof="0" dirty="0"/>
                        <a:t>In 201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000" noProof="0" dirty="0"/>
                        <a:t>Purpos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2000" noProof="0" dirty="0"/>
                        <a:t>Smoothing of expected increase in contribution rat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000" noProof="0" dirty="0"/>
                        <a:t>Accumulation phas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2000" noProof="0" dirty="0"/>
                        <a:t>2015 to 203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000" noProof="0" dirty="0"/>
                        <a:t>Annual dotation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1% of previous year’s (standardised) revenues</a:t>
                      </a:r>
                      <a:endParaRPr lang="en-GB" sz="2400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000" noProof="0" dirty="0"/>
                        <a:t>Dotation of 201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uro 1.36bn</a:t>
                      </a:r>
                      <a:endParaRPr lang="en-GB" sz="2400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000" noProof="0" dirty="0"/>
                        <a:t>Assets, end of 201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uro 3.83bn </a:t>
                      </a:r>
                      <a:endParaRPr lang="en-GB" sz="2400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000" noProof="0" dirty="0"/>
                        <a:t>Decumulation phas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2000" noProof="0" dirty="0"/>
                        <a:t>Starting</a:t>
                      </a:r>
                      <a:r>
                        <a:rPr lang="en-GB" sz="2000" baseline="0" noProof="0" dirty="0"/>
                        <a:t> in 2035</a:t>
                      </a:r>
                      <a:endParaRPr lang="en-GB" sz="2000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000" noProof="0" dirty="0"/>
                        <a:t>Maximum annual draw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t in excess of 1/20 of the assets as of end of 2034</a:t>
                      </a:r>
                      <a:endParaRPr lang="en-GB" sz="2400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000" noProof="0" dirty="0"/>
                        <a:t>Manag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2000" noProof="0" dirty="0"/>
                        <a:t>German</a:t>
                      </a:r>
                      <a:r>
                        <a:rPr lang="en-GB" sz="2000" baseline="0" noProof="0" dirty="0"/>
                        <a:t> Central Bank (Deutsche Bundesbank)</a:t>
                      </a:r>
                      <a:endParaRPr lang="en-GB" sz="2000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000" noProof="0" dirty="0"/>
                        <a:t>Monitor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2000" noProof="0" dirty="0"/>
                        <a:t>German Federal Ministry of Healt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9255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sz="4000" b="1" dirty="0" err="1"/>
              <a:t>Thank</a:t>
            </a:r>
            <a:r>
              <a:rPr lang="de-DE" sz="4000" b="1" dirty="0"/>
              <a:t> </a:t>
            </a:r>
            <a:r>
              <a:rPr lang="de-DE" sz="4000" b="1" dirty="0" err="1"/>
              <a:t>you</a:t>
            </a:r>
            <a:r>
              <a:rPr lang="de-DE" sz="4000" b="1" dirty="0"/>
              <a:t> </a:t>
            </a:r>
            <a:r>
              <a:rPr lang="de-DE" sz="4000" b="1" dirty="0" err="1"/>
              <a:t>very</a:t>
            </a:r>
            <a:r>
              <a:rPr lang="de-DE" sz="4000" b="1" dirty="0"/>
              <a:t> </a:t>
            </a:r>
            <a:r>
              <a:rPr lang="de-DE" sz="4000" b="1" dirty="0" err="1"/>
              <a:t>much</a:t>
            </a:r>
            <a:endParaRPr lang="de-DE" sz="4000" b="1" dirty="0"/>
          </a:p>
        </p:txBody>
      </p:sp>
    </p:spTree>
    <p:extLst>
      <p:ext uri="{BB962C8B-B14F-4D97-AF65-F5344CB8AC3E}">
        <p14:creationId xmlns:p14="http://schemas.microsoft.com/office/powerpoint/2010/main" val="22024861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finition: …»in need for care»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mensions of assessment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re grades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ist of benefits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ize of benefit according to care grade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nefits for all grades 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umber of beneficiaries</a:t>
            </a: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Index: TYPE OF ELDERLY SERVICES:</a:t>
            </a:r>
          </a:p>
          <a:p>
            <a:r>
              <a:rPr lang="en-US" dirty="0"/>
              <a:t>        FORMAL AND INFORMAL CAR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668377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inancial parameters: rate of contributions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 payment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inancial parameters: Revenues and expenditure 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chanism of revenue sharing 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dium term financial stability 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ng term financial stability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inancial parameters: projection of expenditure 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ng term care provident fund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Index: FINANCING AND SPENDING LEVEL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459202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sz="4000" b="1" dirty="0"/>
              <a:t>MANAGEMENT AND ORGANIZATION:</a:t>
            </a:r>
            <a:br>
              <a:rPr lang="de-DE" sz="4000" b="1" dirty="0"/>
            </a:br>
            <a:r>
              <a:rPr lang="de-DE" sz="4000" b="1" dirty="0"/>
              <a:t>DECENTRALIZATION AND INTEGRATION</a:t>
            </a:r>
          </a:p>
        </p:txBody>
      </p:sp>
    </p:spTree>
    <p:extLst>
      <p:ext uri="{BB962C8B-B14F-4D97-AF65-F5344CB8AC3E}">
        <p14:creationId xmlns:p14="http://schemas.microsoft.com/office/powerpoint/2010/main" val="30873415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dirty="0"/>
              <a:t>PRINCIPLES OF DESIGN AND ORGANISATION</a:t>
            </a:r>
          </a:p>
        </p:txBody>
      </p:sp>
      <p:sp>
        <p:nvSpPr>
          <p:cNvPr id="5" name="Rechteck 4"/>
          <p:cNvSpPr/>
          <p:nvPr/>
        </p:nvSpPr>
        <p:spPr>
          <a:xfrm>
            <a:off x="704528" y="1268760"/>
            <a:ext cx="8568952" cy="49182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Germany: History of social security and social protection through branches of social insurance</a:t>
            </a:r>
          </a:p>
          <a:p>
            <a:pPr marL="342900" lvl="0" indent="-34290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Statutory health insurance (1883), statutory industrial injury insurance (1884), statutory pension insurance (1889), statutory unemployment insurance (1927)</a:t>
            </a:r>
          </a:p>
          <a:p>
            <a:pPr marL="342900" lvl="0" indent="-34290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Coverage gap: insurance of the long term care risk </a:t>
            </a:r>
          </a:p>
          <a:p>
            <a:pPr marL="342900" lvl="0" indent="-34290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If in need of care: out-of-pocket payment or means tested social assistance </a:t>
            </a:r>
          </a:p>
          <a:p>
            <a:pPr marL="342900" lvl="0" indent="-34290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1995: statutory </a:t>
            </a:r>
            <a:r>
              <a:rPr lang="en-GB" sz="3200" b="1" dirty="0">
                <a:solidFill>
                  <a:prstClr val="black"/>
                </a:solidFill>
                <a:latin typeface="Optane" pitchFamily="2" charset="0"/>
              </a:rPr>
              <a:t>social long term care insurance </a:t>
            </a: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(LTCI)  </a:t>
            </a:r>
          </a:p>
        </p:txBody>
      </p:sp>
    </p:spTree>
    <p:extLst>
      <p:ext uri="{BB962C8B-B14F-4D97-AF65-F5344CB8AC3E}">
        <p14:creationId xmlns:p14="http://schemas.microsoft.com/office/powerpoint/2010/main" val="20876096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dirty="0"/>
              <a:t>PRINCIPLES OF DESIGN AND ORGANISATION</a:t>
            </a:r>
          </a:p>
        </p:txBody>
      </p:sp>
      <p:sp>
        <p:nvSpPr>
          <p:cNvPr id="5" name="Rechteck 4"/>
          <p:cNvSpPr/>
          <p:nvPr/>
        </p:nvSpPr>
        <p:spPr>
          <a:xfrm>
            <a:off x="704528" y="1052736"/>
            <a:ext cx="8568952" cy="610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fontAlgn="auto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Mandatory social insurance</a:t>
            </a:r>
          </a:p>
          <a:p>
            <a:pPr marL="342900" lvl="0" indent="-342900" fontAlgn="auto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Statutory benefits, partially comprehensive insurance  </a:t>
            </a:r>
          </a:p>
          <a:p>
            <a:pPr marL="342900" lvl="0" indent="-342900" fontAlgn="auto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LTCI Management entrusted to Statutory Health Funds, but separate branch and distinct accounts; LTC insurance follows health insurance   </a:t>
            </a:r>
          </a:p>
          <a:p>
            <a:pPr marL="342900" lvl="0" indent="-342900" fontAlgn="auto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Private insurance for those not entitled to statutory health insurance or opting out</a:t>
            </a:r>
          </a:p>
          <a:p>
            <a:pPr marL="342900" lvl="0" indent="-342900" fontAlgn="auto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Opting out possible, if monthly (annual) wage is above Euro 4,950 (59,000)</a:t>
            </a:r>
          </a:p>
          <a:p>
            <a:pPr marL="342900" lvl="0" indent="-342900" fontAlgn="auto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Supplementary insurance for individual benefits: private insurance, tax subsidized </a:t>
            </a:r>
          </a:p>
          <a:p>
            <a:pPr marL="342900" lvl="0" indent="-34290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70298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dirty="0"/>
              <a:t>PRINCIPLES OF DESIGN AND ORGANISATION</a:t>
            </a:r>
          </a:p>
        </p:txBody>
      </p:sp>
      <p:sp>
        <p:nvSpPr>
          <p:cNvPr id="5" name="Rechteck 4"/>
          <p:cNvSpPr/>
          <p:nvPr/>
        </p:nvSpPr>
        <p:spPr>
          <a:xfrm>
            <a:off x="704528" y="1052736"/>
            <a:ext cx="8568952" cy="36379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fontAlgn="auto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Delivery of services</a:t>
            </a:r>
          </a:p>
          <a:p>
            <a:pPr marL="800100" lvl="1" indent="-342900" fontAlgn="auto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GB" sz="3200" dirty="0">
                <a:solidFill>
                  <a:prstClr val="black"/>
                </a:solidFill>
                <a:latin typeface="Optane" pitchFamily="2" charset="0"/>
              </a:rPr>
              <a:t>Care givers (family members or acquaintances): home care</a:t>
            </a:r>
          </a:p>
          <a:p>
            <a:pPr marL="800100" lvl="1" indent="-342900" fontAlgn="auto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US" sz="3200" dirty="0">
                <a:solidFill>
                  <a:prstClr val="black"/>
                </a:solidFill>
                <a:latin typeface="Optane" pitchFamily="2" charset="0"/>
              </a:rPr>
              <a:t>Contracted facilities under municipal, non-profit or private ownership</a:t>
            </a:r>
          </a:p>
          <a:p>
            <a:pPr marL="800100" lvl="1" indent="-342900" fontAlgn="auto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US" sz="3200" dirty="0">
                <a:solidFill>
                  <a:prstClr val="black"/>
                </a:solidFill>
                <a:latin typeface="Optane" pitchFamily="2" charset="0"/>
              </a:rPr>
              <a:t>Out-patient care services </a:t>
            </a:r>
          </a:p>
          <a:p>
            <a:pPr marL="800100" lvl="1" indent="-342900" fontAlgn="auto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r>
              <a:rPr lang="en-US" sz="3200" dirty="0">
                <a:solidFill>
                  <a:prstClr val="black"/>
                </a:solidFill>
                <a:latin typeface="Optane" pitchFamily="2" charset="0"/>
              </a:rPr>
              <a:t>In-patient care services, nursing homes</a:t>
            </a: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  <a:p>
            <a:pPr marL="342900" lvl="0" indent="-34290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</a:pPr>
            <a:endParaRPr lang="en-GB" sz="3200" dirty="0">
              <a:solidFill>
                <a:prstClr val="black"/>
              </a:solidFill>
              <a:latin typeface="Opta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79964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dirty="0"/>
              <a:t>NUMBER OF INSURED (2017, in </a:t>
            </a:r>
            <a:r>
              <a:rPr lang="de-DE" sz="3200" dirty="0" err="1"/>
              <a:t>million</a:t>
            </a:r>
            <a:r>
              <a:rPr lang="de-DE" sz="3200" dirty="0"/>
              <a:t>) </a:t>
            </a:r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3108578"/>
              </p:ext>
            </p:extLst>
          </p:nvPr>
        </p:nvGraphicFramePr>
        <p:xfrm>
          <a:off x="1651000" y="2025640"/>
          <a:ext cx="6603999" cy="212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13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013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013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SOCIAL LT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PRIVATE LT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Contributing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member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6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.a</a:t>
                      </a:r>
                      <a:r>
                        <a:rPr lang="de-DE" dirty="0"/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amily </a:t>
                      </a:r>
                      <a:r>
                        <a:rPr lang="de-DE" dirty="0" err="1"/>
                        <a:t>members</a:t>
                      </a:r>
                      <a:r>
                        <a:rPr lang="de-DE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6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n.a</a:t>
                      </a:r>
                      <a:r>
                        <a:rPr lang="de-DE" dirty="0"/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71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.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71091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0</TotalTime>
  <Words>1216</Words>
  <Application>Microsoft Office PowerPoint</Application>
  <PresentationFormat>A4 Paper (210x297 mm)</PresentationFormat>
  <Paragraphs>367</Paragraphs>
  <Slides>27</Slides>
  <Notes>27</Notes>
  <HiddenSlides>0</HiddenSlides>
  <MMClips>0</MMClips>
  <ScaleCrop>false</ScaleCrop>
  <HeadingPairs>
    <vt:vector size="10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  <vt:variant>
        <vt:lpstr>Custom Shows</vt:lpstr>
      </vt:variant>
      <vt:variant>
        <vt:i4>1</vt:i4>
      </vt:variant>
    </vt:vector>
  </HeadingPairs>
  <TitlesOfParts>
    <vt:vector size="34" baseType="lpstr">
      <vt:lpstr>Optane</vt:lpstr>
      <vt:lpstr>Arial</vt:lpstr>
      <vt:lpstr>Calibri</vt:lpstr>
      <vt:lpstr>Wingdings</vt:lpstr>
      <vt:lpstr>SPRP_Correct Power Point Template v1</vt:lpstr>
      <vt:lpstr>think-cell Slide</vt:lpstr>
      <vt:lpstr>PowerPoint Presentation</vt:lpstr>
      <vt:lpstr>PowerPoint Presentation</vt:lpstr>
      <vt:lpstr>PowerPoint Presentation</vt:lpstr>
      <vt:lpstr>PowerPoint Presentation</vt:lpstr>
      <vt:lpstr> </vt:lpstr>
      <vt:lpstr>PRINCIPLES OF DESIGN AND ORGANISATION</vt:lpstr>
      <vt:lpstr>PRINCIPLES OF DESIGN AND ORGANISATION</vt:lpstr>
      <vt:lpstr>PRINCIPLES OF DESIGN AND ORGANISATION</vt:lpstr>
      <vt:lpstr>NUMBER OF INSURED (2017, in million) </vt:lpstr>
      <vt:lpstr> </vt:lpstr>
      <vt:lpstr>DEFINITION … IN NEED FOR CARE</vt:lpstr>
      <vt:lpstr>DIMENSIONS OF ASSESSMENT</vt:lpstr>
      <vt:lpstr>CARE GRADES</vt:lpstr>
      <vt:lpstr>LIST OF BENEFITS</vt:lpstr>
      <vt:lpstr>SIZE OF BENEFITS ACCORDING TO CARE GRADE</vt:lpstr>
      <vt:lpstr>BENEFITS, for all care grades</vt:lpstr>
      <vt:lpstr>NUMBER OF BENEFICIARIES  (2017, in thousend, rounded figures) </vt:lpstr>
      <vt:lpstr> </vt:lpstr>
      <vt:lpstr>FINANCIAL PARAMETERS: RATE OF CONTRIBUTIONS</vt:lpstr>
      <vt:lpstr>CONTRIBUTION PAYMENT </vt:lpstr>
      <vt:lpstr>FINANCIAL PARAMETERS: REVENUES AND EXPENDITURE</vt:lpstr>
      <vt:lpstr>MECHANISM OF REVENUE SHARING</vt:lpstr>
      <vt:lpstr>MEDIUM TERM FINANCIAL STABILITY </vt:lpstr>
      <vt:lpstr>LONG TERM FINANCIAL STABILITY </vt:lpstr>
      <vt:lpstr>FINANCIAL PARAMETERS: PROJECTION OF EXPENDITURE</vt:lpstr>
      <vt:lpstr>LONG TERM CARE PROVIDENT FUND</vt:lpstr>
      <vt:lpstr> </vt:lpstr>
      <vt:lpstr>Custom Show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SPRP-BJ User</cp:lastModifiedBy>
  <cp:revision>114</cp:revision>
  <cp:lastPrinted>2018-07-10T18:18:02Z</cp:lastPrinted>
  <dcterms:created xsi:type="dcterms:W3CDTF">2015-09-07T02:11:56Z</dcterms:created>
  <dcterms:modified xsi:type="dcterms:W3CDTF">2019-02-27T07:44:17Z</dcterms:modified>
</cp:coreProperties>
</file>